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16"/>
  </p:notesMasterIdLst>
  <p:sldIdLst>
    <p:sldId id="407" r:id="rId5"/>
    <p:sldId id="692" r:id="rId6"/>
    <p:sldId id="269" r:id="rId7"/>
    <p:sldId id="664" r:id="rId8"/>
    <p:sldId id="673" r:id="rId9"/>
    <p:sldId id="663" r:id="rId10"/>
    <p:sldId id="674" r:id="rId11"/>
    <p:sldId id="691" r:id="rId12"/>
    <p:sldId id="671" r:id="rId13"/>
    <p:sldId id="693" r:id="rId14"/>
    <p:sldId id="694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alibri Light" panose="020F0302020204030204" pitchFamily="34" charset="0"/>
      <p:regular r:id="rId21"/>
      <p:italic r:id="rId2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FC4"/>
    <a:srgbClr val="FFCD1E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7" autoAdjust="0"/>
    <p:restoredTop sz="92277" autoAdjust="0"/>
  </p:normalViewPr>
  <p:slideViewPr>
    <p:cSldViewPr snapToGrid="0">
      <p:cViewPr varScale="1">
        <p:scale>
          <a:sx n="63" d="100"/>
          <a:sy n="63" d="100"/>
        </p:scale>
        <p:origin x="836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473CA6-25A3-410E-9B5F-727B1801E1D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EB88300B-FCC1-4781-9094-7F02AF3FE86E}">
      <dgm:prSet phldrT="[Text]"/>
      <dgm:spPr/>
      <dgm:t>
        <a:bodyPr/>
        <a:lstStyle/>
        <a:p>
          <a:r>
            <a:rPr lang="pt-PT" dirty="0" err="1"/>
            <a:t>Good</a:t>
          </a:r>
          <a:endParaRPr lang="pt-PT" dirty="0"/>
        </a:p>
      </dgm:t>
    </dgm:pt>
    <dgm:pt modelId="{617C5609-FA9C-40F7-A753-C9DBC4A59A1D}" type="parTrans" cxnId="{3811A9EF-96FE-4BE6-B32C-F5A2353D75A4}">
      <dgm:prSet/>
      <dgm:spPr/>
      <dgm:t>
        <a:bodyPr/>
        <a:lstStyle/>
        <a:p>
          <a:endParaRPr lang="pt-PT"/>
        </a:p>
      </dgm:t>
    </dgm:pt>
    <dgm:pt modelId="{961D1448-7F37-4642-A449-5F2A4F65953C}" type="sibTrans" cxnId="{3811A9EF-96FE-4BE6-B32C-F5A2353D75A4}">
      <dgm:prSet/>
      <dgm:spPr/>
      <dgm:t>
        <a:bodyPr/>
        <a:lstStyle/>
        <a:p>
          <a:endParaRPr lang="pt-PT"/>
        </a:p>
      </dgm:t>
    </dgm:pt>
    <dgm:pt modelId="{FE561863-5E1C-4934-9653-6D6B30503D9B}">
      <dgm:prSet phldrT="[Text]"/>
      <dgm:spPr/>
      <dgm:t>
        <a:bodyPr/>
        <a:lstStyle/>
        <a:p>
          <a:r>
            <a:rPr lang="pt-PT" dirty="0" err="1"/>
            <a:t>All</a:t>
          </a:r>
          <a:r>
            <a:rPr lang="pt-PT" dirty="0"/>
            <a:t> </a:t>
          </a:r>
          <a:r>
            <a:rPr lang="pt-PT" dirty="0" err="1"/>
            <a:t>tasks</a:t>
          </a:r>
          <a:r>
            <a:rPr lang="pt-PT" dirty="0"/>
            <a:t> </a:t>
          </a:r>
          <a:r>
            <a:rPr lang="pt-PT" dirty="0" err="1"/>
            <a:t>completed</a:t>
          </a:r>
          <a:r>
            <a:rPr lang="pt-PT" dirty="0"/>
            <a:t> </a:t>
          </a:r>
          <a:r>
            <a:rPr lang="pt-PT" dirty="0" err="1"/>
            <a:t>sucessfully</a:t>
          </a:r>
          <a:r>
            <a:rPr lang="pt-PT" dirty="0"/>
            <a:t>.	</a:t>
          </a:r>
        </a:p>
      </dgm:t>
    </dgm:pt>
    <dgm:pt modelId="{01E42B77-5298-44A2-BB69-C185A06A5D65}" type="parTrans" cxnId="{816AC413-04AA-4C13-B3B2-B07D67D4B754}">
      <dgm:prSet/>
      <dgm:spPr/>
      <dgm:t>
        <a:bodyPr/>
        <a:lstStyle/>
        <a:p>
          <a:endParaRPr lang="pt-PT"/>
        </a:p>
      </dgm:t>
    </dgm:pt>
    <dgm:pt modelId="{DFAE94E0-B74C-4BC8-B2A2-0D850742D180}" type="sibTrans" cxnId="{816AC413-04AA-4C13-B3B2-B07D67D4B754}">
      <dgm:prSet/>
      <dgm:spPr/>
      <dgm:t>
        <a:bodyPr/>
        <a:lstStyle/>
        <a:p>
          <a:endParaRPr lang="pt-PT"/>
        </a:p>
      </dgm:t>
    </dgm:pt>
    <dgm:pt modelId="{A1AE9BDC-9A4C-474C-A5C7-EE9F9A26B3F7}">
      <dgm:prSet phldrT="[Text]"/>
      <dgm:spPr/>
      <dgm:t>
        <a:bodyPr/>
        <a:lstStyle/>
        <a:p>
          <a:r>
            <a:rPr lang="pt-PT" dirty="0" err="1"/>
            <a:t>Promptly</a:t>
          </a:r>
          <a:r>
            <a:rPr lang="pt-PT" dirty="0"/>
            <a:t> </a:t>
          </a:r>
          <a:r>
            <a:rPr lang="pt-PT" dirty="0" err="1"/>
            <a:t>support</a:t>
          </a:r>
          <a:r>
            <a:rPr lang="pt-PT" dirty="0"/>
            <a:t> </a:t>
          </a:r>
          <a:r>
            <a:rPr lang="pt-PT" dirty="0" err="1"/>
            <a:t>from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team.</a:t>
          </a:r>
        </a:p>
      </dgm:t>
    </dgm:pt>
    <dgm:pt modelId="{A0C2B6F8-CCB5-43C5-BE38-78FB5D3CDD07}" type="parTrans" cxnId="{570B82B9-CE31-4FE6-99B2-F5501BBFB4C8}">
      <dgm:prSet/>
      <dgm:spPr/>
      <dgm:t>
        <a:bodyPr/>
        <a:lstStyle/>
        <a:p>
          <a:endParaRPr lang="pt-PT"/>
        </a:p>
      </dgm:t>
    </dgm:pt>
    <dgm:pt modelId="{4FBB5D60-D649-4E15-91C5-22A59E1B1F35}" type="sibTrans" cxnId="{570B82B9-CE31-4FE6-99B2-F5501BBFB4C8}">
      <dgm:prSet/>
      <dgm:spPr/>
      <dgm:t>
        <a:bodyPr/>
        <a:lstStyle/>
        <a:p>
          <a:endParaRPr lang="pt-PT"/>
        </a:p>
      </dgm:t>
    </dgm:pt>
    <dgm:pt modelId="{1E4935E2-C8E3-4188-9E9E-876C879AA69F}">
      <dgm:prSet phldrT="[Text]"/>
      <dgm:spPr/>
      <dgm:t>
        <a:bodyPr/>
        <a:lstStyle/>
        <a:p>
          <a:r>
            <a:rPr lang="pt-PT" dirty="0" err="1"/>
            <a:t>Bad</a:t>
          </a:r>
          <a:endParaRPr lang="pt-PT" dirty="0"/>
        </a:p>
      </dgm:t>
    </dgm:pt>
    <dgm:pt modelId="{A5E02EDB-D7A5-4DAB-B6D5-E4F1E74013A9}" type="parTrans" cxnId="{6AD87C2B-2796-458C-BF6B-27FA8915564A}">
      <dgm:prSet/>
      <dgm:spPr/>
      <dgm:t>
        <a:bodyPr/>
        <a:lstStyle/>
        <a:p>
          <a:endParaRPr lang="pt-PT"/>
        </a:p>
      </dgm:t>
    </dgm:pt>
    <dgm:pt modelId="{B9BDAB96-4B5E-43C8-8EA4-15D085FBDF41}" type="sibTrans" cxnId="{6AD87C2B-2796-458C-BF6B-27FA8915564A}">
      <dgm:prSet/>
      <dgm:spPr/>
      <dgm:t>
        <a:bodyPr/>
        <a:lstStyle/>
        <a:p>
          <a:endParaRPr lang="pt-PT"/>
        </a:p>
      </dgm:t>
    </dgm:pt>
    <dgm:pt modelId="{FE355781-AA18-4BBC-A9D0-BDB9762992D4}">
      <dgm:prSet phldrT="[Text]"/>
      <dgm:spPr/>
      <dgm:t>
        <a:bodyPr/>
        <a:lstStyle/>
        <a:p>
          <a:r>
            <a:rPr lang="pt-PT" dirty="0"/>
            <a:t>Time management </a:t>
          </a:r>
          <a:r>
            <a:rPr lang="pt-PT" dirty="0" err="1"/>
            <a:t>when</a:t>
          </a:r>
          <a:r>
            <a:rPr lang="pt-PT" dirty="0"/>
            <a:t> </a:t>
          </a:r>
          <a:r>
            <a:rPr lang="pt-PT" dirty="0" err="1"/>
            <a:t>learning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</a:t>
          </a:r>
          <a:r>
            <a:rPr lang="pt-PT" dirty="0" err="1"/>
            <a:t>tool’s</a:t>
          </a:r>
          <a:r>
            <a:rPr lang="pt-PT" dirty="0"/>
            <a:t> </a:t>
          </a:r>
          <a:r>
            <a:rPr lang="pt-PT" dirty="0" err="1"/>
            <a:t>features</a:t>
          </a:r>
          <a:r>
            <a:rPr lang="pt-PT" dirty="0"/>
            <a:t>.</a:t>
          </a:r>
        </a:p>
      </dgm:t>
    </dgm:pt>
    <dgm:pt modelId="{BAC35658-B4BE-4E97-9843-61D92AB64A7B}" type="parTrans" cxnId="{5861A851-7D4F-4CE4-946C-4E45F21296CF}">
      <dgm:prSet/>
      <dgm:spPr/>
      <dgm:t>
        <a:bodyPr/>
        <a:lstStyle/>
        <a:p>
          <a:endParaRPr lang="pt-PT"/>
        </a:p>
      </dgm:t>
    </dgm:pt>
    <dgm:pt modelId="{B07605D6-F049-48BD-A060-73C3B27AC7FE}" type="sibTrans" cxnId="{5861A851-7D4F-4CE4-946C-4E45F21296CF}">
      <dgm:prSet/>
      <dgm:spPr/>
      <dgm:t>
        <a:bodyPr/>
        <a:lstStyle/>
        <a:p>
          <a:endParaRPr lang="pt-PT"/>
        </a:p>
      </dgm:t>
    </dgm:pt>
    <dgm:pt modelId="{F46C4F3B-1D99-47F1-BD6E-C0E7133A1835}">
      <dgm:prSet phldrT="[Text]"/>
      <dgm:spPr/>
      <dgm:t>
        <a:bodyPr/>
        <a:lstStyle/>
        <a:p>
          <a:r>
            <a:rPr lang="pt-PT" dirty="0"/>
            <a:t>Improve</a:t>
          </a:r>
        </a:p>
      </dgm:t>
    </dgm:pt>
    <dgm:pt modelId="{CCB92582-46BC-4C3F-922A-625568BB9167}" type="parTrans" cxnId="{2BC528DF-B044-408F-8455-6EDCBBF4ABA0}">
      <dgm:prSet/>
      <dgm:spPr/>
      <dgm:t>
        <a:bodyPr/>
        <a:lstStyle/>
        <a:p>
          <a:endParaRPr lang="pt-PT"/>
        </a:p>
      </dgm:t>
    </dgm:pt>
    <dgm:pt modelId="{86067616-46AA-43A6-8BDB-C9C8D2102757}" type="sibTrans" cxnId="{2BC528DF-B044-408F-8455-6EDCBBF4ABA0}">
      <dgm:prSet/>
      <dgm:spPr/>
      <dgm:t>
        <a:bodyPr/>
        <a:lstStyle/>
        <a:p>
          <a:endParaRPr lang="pt-PT"/>
        </a:p>
      </dgm:t>
    </dgm:pt>
    <dgm:pt modelId="{75FC17EF-620E-4334-A90E-8B0AF51B9DFE}">
      <dgm:prSet phldrT="[Text]"/>
      <dgm:spPr/>
      <dgm:t>
        <a:bodyPr/>
        <a:lstStyle/>
        <a:p>
          <a:r>
            <a:rPr lang="pt-PT" dirty="0" err="1"/>
            <a:t>Proficiency</a:t>
          </a:r>
          <a:r>
            <a:rPr lang="pt-PT" dirty="0"/>
            <a:t> </a:t>
          </a:r>
          <a:r>
            <a:rPr lang="pt-PT" dirty="0" err="1"/>
            <a:t>with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</a:t>
          </a:r>
          <a:r>
            <a:rPr lang="pt-PT" dirty="0" err="1"/>
            <a:t>automation</a:t>
          </a:r>
          <a:r>
            <a:rPr lang="pt-PT" dirty="0"/>
            <a:t> </a:t>
          </a:r>
          <a:r>
            <a:rPr lang="pt-PT" dirty="0" err="1"/>
            <a:t>tool</a:t>
          </a:r>
          <a:r>
            <a:rPr lang="pt-PT" dirty="0"/>
            <a:t>.</a:t>
          </a:r>
        </a:p>
      </dgm:t>
    </dgm:pt>
    <dgm:pt modelId="{96C9B62E-7A27-4A79-97EF-13467C622223}" type="parTrans" cxnId="{359EB216-B7C1-4805-B651-44887E58DC24}">
      <dgm:prSet/>
      <dgm:spPr/>
      <dgm:t>
        <a:bodyPr/>
        <a:lstStyle/>
        <a:p>
          <a:endParaRPr lang="pt-PT"/>
        </a:p>
      </dgm:t>
    </dgm:pt>
    <dgm:pt modelId="{948CF0CC-E009-4273-87B7-98F93BFA8995}" type="sibTrans" cxnId="{359EB216-B7C1-4805-B651-44887E58DC24}">
      <dgm:prSet/>
      <dgm:spPr/>
      <dgm:t>
        <a:bodyPr/>
        <a:lstStyle/>
        <a:p>
          <a:endParaRPr lang="pt-PT"/>
        </a:p>
      </dgm:t>
    </dgm:pt>
    <dgm:pt modelId="{F0D4E953-7BC2-4931-B3C6-765F6AA9903E}">
      <dgm:prSet phldrT="[Text]"/>
      <dgm:spPr/>
      <dgm:t>
        <a:bodyPr/>
        <a:lstStyle/>
        <a:p>
          <a:r>
            <a:rPr lang="pt-PT" dirty="0" err="1"/>
            <a:t>Good</a:t>
          </a:r>
          <a:r>
            <a:rPr lang="pt-PT" dirty="0"/>
            <a:t> </a:t>
          </a:r>
          <a:r>
            <a:rPr lang="pt-PT" dirty="0" err="1"/>
            <a:t>learning</a:t>
          </a:r>
          <a:r>
            <a:rPr lang="pt-PT" dirty="0"/>
            <a:t> </a:t>
          </a:r>
          <a:r>
            <a:rPr lang="pt-PT" dirty="0" err="1"/>
            <a:t>experience</a:t>
          </a:r>
          <a:r>
            <a:rPr lang="pt-PT" dirty="0"/>
            <a:t>.</a:t>
          </a:r>
        </a:p>
      </dgm:t>
    </dgm:pt>
    <dgm:pt modelId="{7A43AC54-A2D9-41A3-A517-C69FAB322F21}" type="parTrans" cxnId="{110B86D4-3338-447F-AF71-6A8070AF1A64}">
      <dgm:prSet/>
      <dgm:spPr/>
      <dgm:t>
        <a:bodyPr/>
        <a:lstStyle/>
        <a:p>
          <a:endParaRPr lang="pt-PT"/>
        </a:p>
      </dgm:t>
    </dgm:pt>
    <dgm:pt modelId="{7FAB161C-D1A2-416B-9F84-1884B02FEBC5}" type="sibTrans" cxnId="{110B86D4-3338-447F-AF71-6A8070AF1A64}">
      <dgm:prSet/>
      <dgm:spPr/>
      <dgm:t>
        <a:bodyPr/>
        <a:lstStyle/>
        <a:p>
          <a:endParaRPr lang="pt-PT"/>
        </a:p>
      </dgm:t>
    </dgm:pt>
    <dgm:pt modelId="{EB8D9E71-9E20-4893-B9FD-84DDCA52202E}">
      <dgm:prSet phldrT="[Text]"/>
      <dgm:spPr/>
      <dgm:t>
        <a:bodyPr/>
        <a:lstStyle/>
        <a:p>
          <a:r>
            <a:rPr lang="pt-PT" dirty="0" err="1"/>
            <a:t>Other</a:t>
          </a:r>
          <a:r>
            <a:rPr lang="pt-PT" dirty="0"/>
            <a:t> </a:t>
          </a:r>
          <a:r>
            <a:rPr lang="pt-PT" dirty="0" err="1"/>
            <a:t>project</a:t>
          </a:r>
          <a:r>
            <a:rPr lang="pt-PT" dirty="0"/>
            <a:t> </a:t>
          </a:r>
          <a:r>
            <a:rPr lang="pt-PT" dirty="0" err="1"/>
            <a:t>references</a:t>
          </a:r>
          <a:r>
            <a:rPr lang="pt-PT" dirty="0"/>
            <a:t> to </a:t>
          </a:r>
          <a:r>
            <a:rPr lang="pt-PT" dirty="0" err="1"/>
            <a:t>learn</a:t>
          </a:r>
          <a:r>
            <a:rPr lang="pt-PT" dirty="0"/>
            <a:t> </a:t>
          </a:r>
          <a:r>
            <a:rPr lang="pt-PT" dirty="0" err="1"/>
            <a:t>from</a:t>
          </a:r>
          <a:r>
            <a:rPr lang="pt-PT" dirty="0"/>
            <a:t> </a:t>
          </a:r>
          <a:r>
            <a:rPr lang="pt-PT" dirty="0" err="1"/>
            <a:t>and</a:t>
          </a:r>
          <a:r>
            <a:rPr lang="pt-PT" dirty="0"/>
            <a:t> compare.</a:t>
          </a:r>
        </a:p>
      </dgm:t>
    </dgm:pt>
    <dgm:pt modelId="{895CE4CC-9E6E-46B6-A99B-0835871620BA}" type="parTrans" cxnId="{91E8982A-B95D-4A83-971C-0F8310D11ADB}">
      <dgm:prSet/>
      <dgm:spPr/>
      <dgm:t>
        <a:bodyPr/>
        <a:lstStyle/>
        <a:p>
          <a:endParaRPr lang="pt-PT"/>
        </a:p>
      </dgm:t>
    </dgm:pt>
    <dgm:pt modelId="{CC75696D-11DC-4FBE-BC83-09FCAE407479}" type="sibTrans" cxnId="{91E8982A-B95D-4A83-971C-0F8310D11ADB}">
      <dgm:prSet/>
      <dgm:spPr/>
      <dgm:t>
        <a:bodyPr/>
        <a:lstStyle/>
        <a:p>
          <a:endParaRPr lang="pt-PT"/>
        </a:p>
      </dgm:t>
    </dgm:pt>
    <dgm:pt modelId="{D6A47F8A-ED55-4A90-9258-AC0350D9C07A}" type="pres">
      <dgm:prSet presAssocID="{B7473CA6-25A3-410E-9B5F-727B1801E1D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BA6C22-052C-40EE-BD40-858AAC463AF3}" type="pres">
      <dgm:prSet presAssocID="{EB88300B-FCC1-4781-9094-7F02AF3FE86E}" presName="composite" presStyleCnt="0"/>
      <dgm:spPr/>
    </dgm:pt>
    <dgm:pt modelId="{A9158B6A-ED66-4862-A403-EC9C6CF8845E}" type="pres">
      <dgm:prSet presAssocID="{EB88300B-FCC1-4781-9094-7F02AF3FE86E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FA1A48-CF60-4B3C-A2F1-3A2C2A4CD976}" type="pres">
      <dgm:prSet presAssocID="{EB88300B-FCC1-4781-9094-7F02AF3FE86E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CD478B-35F8-4707-8CBF-260EDB49227A}" type="pres">
      <dgm:prSet presAssocID="{961D1448-7F37-4642-A449-5F2A4F65953C}" presName="sp" presStyleCnt="0"/>
      <dgm:spPr/>
    </dgm:pt>
    <dgm:pt modelId="{BFFE55E4-0530-4919-B73A-4FAEAF5AC59E}" type="pres">
      <dgm:prSet presAssocID="{1E4935E2-C8E3-4188-9E9E-876C879AA69F}" presName="composite" presStyleCnt="0"/>
      <dgm:spPr/>
    </dgm:pt>
    <dgm:pt modelId="{22F35C96-FCF7-4BFD-8F8C-DD3412077C54}" type="pres">
      <dgm:prSet presAssocID="{1E4935E2-C8E3-4188-9E9E-876C879AA69F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F30AE2-1527-4984-AB9C-9C58A436AFA9}" type="pres">
      <dgm:prSet presAssocID="{1E4935E2-C8E3-4188-9E9E-876C879AA69F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2629B8-D425-4561-9E14-1E031C325BE4}" type="pres">
      <dgm:prSet presAssocID="{B9BDAB96-4B5E-43C8-8EA4-15D085FBDF41}" presName="sp" presStyleCnt="0"/>
      <dgm:spPr/>
    </dgm:pt>
    <dgm:pt modelId="{05998E32-ECFB-4F67-A177-1484CC91657B}" type="pres">
      <dgm:prSet presAssocID="{F46C4F3B-1D99-47F1-BD6E-C0E7133A1835}" presName="composite" presStyleCnt="0"/>
      <dgm:spPr/>
    </dgm:pt>
    <dgm:pt modelId="{480CD86F-AFFA-4602-B639-70DF7149AC39}" type="pres">
      <dgm:prSet presAssocID="{F46C4F3B-1D99-47F1-BD6E-C0E7133A1835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A2DD35-10E1-4880-ADD4-5713EA512191}" type="pres">
      <dgm:prSet presAssocID="{F46C4F3B-1D99-47F1-BD6E-C0E7133A1835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91ACF73-DFC5-4B9D-A7CF-99B47E02C758}" type="presOf" srcId="{FE355781-AA18-4BBC-A9D0-BDB9762992D4}" destId="{DCF30AE2-1527-4984-AB9C-9C58A436AFA9}" srcOrd="0" destOrd="0" presId="urn:microsoft.com/office/officeart/2005/8/layout/chevron2"/>
    <dgm:cxn modelId="{76370C67-3056-4961-8F4A-615CA8859195}" type="presOf" srcId="{EB8D9E71-9E20-4893-B9FD-84DDCA52202E}" destId="{43FA1A48-CF60-4B3C-A2F1-3A2C2A4CD976}" srcOrd="0" destOrd="3" presId="urn:microsoft.com/office/officeart/2005/8/layout/chevron2"/>
    <dgm:cxn modelId="{359EB216-B7C1-4805-B651-44887E58DC24}" srcId="{F46C4F3B-1D99-47F1-BD6E-C0E7133A1835}" destId="{75FC17EF-620E-4334-A90E-8B0AF51B9DFE}" srcOrd="0" destOrd="0" parTransId="{96C9B62E-7A27-4A79-97EF-13467C622223}" sibTransId="{948CF0CC-E009-4273-87B7-98F93BFA8995}"/>
    <dgm:cxn modelId="{570B82B9-CE31-4FE6-99B2-F5501BBFB4C8}" srcId="{EB88300B-FCC1-4781-9094-7F02AF3FE86E}" destId="{A1AE9BDC-9A4C-474C-A5C7-EE9F9A26B3F7}" srcOrd="1" destOrd="0" parTransId="{A0C2B6F8-CCB5-43C5-BE38-78FB5D3CDD07}" sibTransId="{4FBB5D60-D649-4E15-91C5-22A59E1B1F35}"/>
    <dgm:cxn modelId="{0F3D74C7-1C63-425F-8421-DB39E6230A72}" type="presOf" srcId="{B7473CA6-25A3-410E-9B5F-727B1801E1D6}" destId="{D6A47F8A-ED55-4A90-9258-AC0350D9C07A}" srcOrd="0" destOrd="0" presId="urn:microsoft.com/office/officeart/2005/8/layout/chevron2"/>
    <dgm:cxn modelId="{816AC413-04AA-4C13-B3B2-B07D67D4B754}" srcId="{EB88300B-FCC1-4781-9094-7F02AF3FE86E}" destId="{FE561863-5E1C-4934-9653-6D6B30503D9B}" srcOrd="0" destOrd="0" parTransId="{01E42B77-5298-44A2-BB69-C185A06A5D65}" sibTransId="{DFAE94E0-B74C-4BC8-B2A2-0D850742D180}"/>
    <dgm:cxn modelId="{B3992703-B25C-4611-8856-D36B48D861DF}" type="presOf" srcId="{F0D4E953-7BC2-4931-B3C6-765F6AA9903E}" destId="{43FA1A48-CF60-4B3C-A2F1-3A2C2A4CD976}" srcOrd="0" destOrd="2" presId="urn:microsoft.com/office/officeart/2005/8/layout/chevron2"/>
    <dgm:cxn modelId="{833834FC-FDFE-475A-AA7F-3E5BBB0E0ADE}" type="presOf" srcId="{F46C4F3B-1D99-47F1-BD6E-C0E7133A1835}" destId="{480CD86F-AFFA-4602-B639-70DF7149AC39}" srcOrd="0" destOrd="0" presId="urn:microsoft.com/office/officeart/2005/8/layout/chevron2"/>
    <dgm:cxn modelId="{91E8982A-B95D-4A83-971C-0F8310D11ADB}" srcId="{EB88300B-FCC1-4781-9094-7F02AF3FE86E}" destId="{EB8D9E71-9E20-4893-B9FD-84DDCA52202E}" srcOrd="3" destOrd="0" parTransId="{895CE4CC-9E6E-46B6-A99B-0835871620BA}" sibTransId="{CC75696D-11DC-4FBE-BC83-09FCAE407479}"/>
    <dgm:cxn modelId="{D3049335-7372-44F5-85B3-54AAAA2A4565}" type="presOf" srcId="{FE561863-5E1C-4934-9653-6D6B30503D9B}" destId="{43FA1A48-CF60-4B3C-A2F1-3A2C2A4CD976}" srcOrd="0" destOrd="0" presId="urn:microsoft.com/office/officeart/2005/8/layout/chevron2"/>
    <dgm:cxn modelId="{BD434D84-1AC3-491F-B168-0155B6DA1AC5}" type="presOf" srcId="{1E4935E2-C8E3-4188-9E9E-876C879AA69F}" destId="{22F35C96-FCF7-4BFD-8F8C-DD3412077C54}" srcOrd="0" destOrd="0" presId="urn:microsoft.com/office/officeart/2005/8/layout/chevron2"/>
    <dgm:cxn modelId="{110B86D4-3338-447F-AF71-6A8070AF1A64}" srcId="{EB88300B-FCC1-4781-9094-7F02AF3FE86E}" destId="{F0D4E953-7BC2-4931-B3C6-765F6AA9903E}" srcOrd="2" destOrd="0" parTransId="{7A43AC54-A2D9-41A3-A517-C69FAB322F21}" sibTransId="{7FAB161C-D1A2-416B-9F84-1884B02FEBC5}"/>
    <dgm:cxn modelId="{6AD87C2B-2796-458C-BF6B-27FA8915564A}" srcId="{B7473CA6-25A3-410E-9B5F-727B1801E1D6}" destId="{1E4935E2-C8E3-4188-9E9E-876C879AA69F}" srcOrd="1" destOrd="0" parTransId="{A5E02EDB-D7A5-4DAB-B6D5-E4F1E74013A9}" sibTransId="{B9BDAB96-4B5E-43C8-8EA4-15D085FBDF41}"/>
    <dgm:cxn modelId="{5347B7D7-2F2E-4C58-A46A-8CC97EFCCADC}" type="presOf" srcId="{EB88300B-FCC1-4781-9094-7F02AF3FE86E}" destId="{A9158B6A-ED66-4862-A403-EC9C6CF8845E}" srcOrd="0" destOrd="0" presId="urn:microsoft.com/office/officeart/2005/8/layout/chevron2"/>
    <dgm:cxn modelId="{DA5E15BF-1D39-43A5-9578-58024F78C7DF}" type="presOf" srcId="{75FC17EF-620E-4334-A90E-8B0AF51B9DFE}" destId="{3BA2DD35-10E1-4880-ADD4-5713EA512191}" srcOrd="0" destOrd="0" presId="urn:microsoft.com/office/officeart/2005/8/layout/chevron2"/>
    <dgm:cxn modelId="{2BC528DF-B044-408F-8455-6EDCBBF4ABA0}" srcId="{B7473CA6-25A3-410E-9B5F-727B1801E1D6}" destId="{F46C4F3B-1D99-47F1-BD6E-C0E7133A1835}" srcOrd="2" destOrd="0" parTransId="{CCB92582-46BC-4C3F-922A-625568BB9167}" sibTransId="{86067616-46AA-43A6-8BDB-C9C8D2102757}"/>
    <dgm:cxn modelId="{5861A851-7D4F-4CE4-946C-4E45F21296CF}" srcId="{1E4935E2-C8E3-4188-9E9E-876C879AA69F}" destId="{FE355781-AA18-4BBC-A9D0-BDB9762992D4}" srcOrd="0" destOrd="0" parTransId="{BAC35658-B4BE-4E97-9843-61D92AB64A7B}" sibTransId="{B07605D6-F049-48BD-A060-73C3B27AC7FE}"/>
    <dgm:cxn modelId="{3811A9EF-96FE-4BE6-B32C-F5A2353D75A4}" srcId="{B7473CA6-25A3-410E-9B5F-727B1801E1D6}" destId="{EB88300B-FCC1-4781-9094-7F02AF3FE86E}" srcOrd="0" destOrd="0" parTransId="{617C5609-FA9C-40F7-A753-C9DBC4A59A1D}" sibTransId="{961D1448-7F37-4642-A449-5F2A4F65953C}"/>
    <dgm:cxn modelId="{F289D052-8886-4A41-8FD1-75E7446D6D4F}" type="presOf" srcId="{A1AE9BDC-9A4C-474C-A5C7-EE9F9A26B3F7}" destId="{43FA1A48-CF60-4B3C-A2F1-3A2C2A4CD976}" srcOrd="0" destOrd="1" presId="urn:microsoft.com/office/officeart/2005/8/layout/chevron2"/>
    <dgm:cxn modelId="{97D0817B-FC2F-486C-8064-99A591C733CC}" type="presParOf" srcId="{D6A47F8A-ED55-4A90-9258-AC0350D9C07A}" destId="{EDBA6C22-052C-40EE-BD40-858AAC463AF3}" srcOrd="0" destOrd="0" presId="urn:microsoft.com/office/officeart/2005/8/layout/chevron2"/>
    <dgm:cxn modelId="{AB80E376-9470-4B71-AF25-99C1B37DB8CF}" type="presParOf" srcId="{EDBA6C22-052C-40EE-BD40-858AAC463AF3}" destId="{A9158B6A-ED66-4862-A403-EC9C6CF8845E}" srcOrd="0" destOrd="0" presId="urn:microsoft.com/office/officeart/2005/8/layout/chevron2"/>
    <dgm:cxn modelId="{47D30BC9-710C-4C49-B643-0407A744351C}" type="presParOf" srcId="{EDBA6C22-052C-40EE-BD40-858AAC463AF3}" destId="{43FA1A48-CF60-4B3C-A2F1-3A2C2A4CD976}" srcOrd="1" destOrd="0" presId="urn:microsoft.com/office/officeart/2005/8/layout/chevron2"/>
    <dgm:cxn modelId="{0DCC363C-EE0C-4D22-9E64-8082F593A7FC}" type="presParOf" srcId="{D6A47F8A-ED55-4A90-9258-AC0350D9C07A}" destId="{3DCD478B-35F8-4707-8CBF-260EDB49227A}" srcOrd="1" destOrd="0" presId="urn:microsoft.com/office/officeart/2005/8/layout/chevron2"/>
    <dgm:cxn modelId="{FCF1C60C-3514-43C7-8918-F3083C990ECC}" type="presParOf" srcId="{D6A47F8A-ED55-4A90-9258-AC0350D9C07A}" destId="{BFFE55E4-0530-4919-B73A-4FAEAF5AC59E}" srcOrd="2" destOrd="0" presId="urn:microsoft.com/office/officeart/2005/8/layout/chevron2"/>
    <dgm:cxn modelId="{E5BB0352-464F-4ADF-BF57-80DE23A2301A}" type="presParOf" srcId="{BFFE55E4-0530-4919-B73A-4FAEAF5AC59E}" destId="{22F35C96-FCF7-4BFD-8F8C-DD3412077C54}" srcOrd="0" destOrd="0" presId="urn:microsoft.com/office/officeart/2005/8/layout/chevron2"/>
    <dgm:cxn modelId="{9ACE403F-CCB7-48C0-BE18-390A2542FC9F}" type="presParOf" srcId="{BFFE55E4-0530-4919-B73A-4FAEAF5AC59E}" destId="{DCF30AE2-1527-4984-AB9C-9C58A436AFA9}" srcOrd="1" destOrd="0" presId="urn:microsoft.com/office/officeart/2005/8/layout/chevron2"/>
    <dgm:cxn modelId="{88ED30C2-D4E6-4A0B-9349-6A9106F9AC9E}" type="presParOf" srcId="{D6A47F8A-ED55-4A90-9258-AC0350D9C07A}" destId="{622629B8-D425-4561-9E14-1E031C325BE4}" srcOrd="3" destOrd="0" presId="urn:microsoft.com/office/officeart/2005/8/layout/chevron2"/>
    <dgm:cxn modelId="{88775618-CB43-4A09-B7C3-7E973ED793CF}" type="presParOf" srcId="{D6A47F8A-ED55-4A90-9258-AC0350D9C07A}" destId="{05998E32-ECFB-4F67-A177-1484CC91657B}" srcOrd="4" destOrd="0" presId="urn:microsoft.com/office/officeart/2005/8/layout/chevron2"/>
    <dgm:cxn modelId="{E7DF6DF8-1B1C-493F-8625-F4C7478B21C9}" type="presParOf" srcId="{05998E32-ECFB-4F67-A177-1484CC91657B}" destId="{480CD86F-AFFA-4602-B639-70DF7149AC39}" srcOrd="0" destOrd="0" presId="urn:microsoft.com/office/officeart/2005/8/layout/chevron2"/>
    <dgm:cxn modelId="{2B520E1F-A33F-46B7-9268-0C84D06528A1}" type="presParOf" srcId="{05998E32-ECFB-4F67-A177-1484CC91657B}" destId="{3BA2DD35-10E1-4880-ADD4-5713EA5121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7473CA6-25A3-410E-9B5F-727B1801E1D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EB88300B-FCC1-4781-9094-7F02AF3FE86E}">
      <dgm:prSet phldrT="[Text]"/>
      <dgm:spPr/>
      <dgm:t>
        <a:bodyPr/>
        <a:lstStyle/>
        <a:p>
          <a:r>
            <a:rPr lang="pt-PT" dirty="0" err="1"/>
            <a:t>Good</a:t>
          </a:r>
          <a:endParaRPr lang="pt-PT" dirty="0"/>
        </a:p>
      </dgm:t>
    </dgm:pt>
    <dgm:pt modelId="{617C5609-FA9C-40F7-A753-C9DBC4A59A1D}" type="parTrans" cxnId="{3811A9EF-96FE-4BE6-B32C-F5A2353D75A4}">
      <dgm:prSet/>
      <dgm:spPr/>
      <dgm:t>
        <a:bodyPr/>
        <a:lstStyle/>
        <a:p>
          <a:endParaRPr lang="pt-PT"/>
        </a:p>
      </dgm:t>
    </dgm:pt>
    <dgm:pt modelId="{961D1448-7F37-4642-A449-5F2A4F65953C}" type="sibTrans" cxnId="{3811A9EF-96FE-4BE6-B32C-F5A2353D75A4}">
      <dgm:prSet/>
      <dgm:spPr/>
      <dgm:t>
        <a:bodyPr/>
        <a:lstStyle/>
        <a:p>
          <a:endParaRPr lang="pt-PT"/>
        </a:p>
      </dgm:t>
    </dgm:pt>
    <dgm:pt modelId="{FE561863-5E1C-4934-9653-6D6B30503D9B}">
      <dgm:prSet phldrT="[Text]"/>
      <dgm:spPr/>
      <dgm:t>
        <a:bodyPr/>
        <a:lstStyle/>
        <a:p>
          <a:endParaRPr lang="pt-PT" dirty="0"/>
        </a:p>
      </dgm:t>
    </dgm:pt>
    <dgm:pt modelId="{01E42B77-5298-44A2-BB69-C185A06A5D65}" type="parTrans" cxnId="{816AC413-04AA-4C13-B3B2-B07D67D4B754}">
      <dgm:prSet/>
      <dgm:spPr/>
      <dgm:t>
        <a:bodyPr/>
        <a:lstStyle/>
        <a:p>
          <a:endParaRPr lang="pt-PT"/>
        </a:p>
      </dgm:t>
    </dgm:pt>
    <dgm:pt modelId="{DFAE94E0-B74C-4BC8-B2A2-0D850742D180}" type="sibTrans" cxnId="{816AC413-04AA-4C13-B3B2-B07D67D4B754}">
      <dgm:prSet/>
      <dgm:spPr/>
      <dgm:t>
        <a:bodyPr/>
        <a:lstStyle/>
        <a:p>
          <a:endParaRPr lang="pt-PT"/>
        </a:p>
      </dgm:t>
    </dgm:pt>
    <dgm:pt modelId="{1E4935E2-C8E3-4188-9E9E-876C879AA69F}">
      <dgm:prSet phldrT="[Text]"/>
      <dgm:spPr/>
      <dgm:t>
        <a:bodyPr/>
        <a:lstStyle/>
        <a:p>
          <a:r>
            <a:rPr lang="pt-PT" dirty="0" err="1"/>
            <a:t>Bad</a:t>
          </a:r>
          <a:endParaRPr lang="pt-PT" dirty="0"/>
        </a:p>
      </dgm:t>
    </dgm:pt>
    <dgm:pt modelId="{A5E02EDB-D7A5-4DAB-B6D5-E4F1E74013A9}" type="parTrans" cxnId="{6AD87C2B-2796-458C-BF6B-27FA8915564A}">
      <dgm:prSet/>
      <dgm:spPr/>
      <dgm:t>
        <a:bodyPr/>
        <a:lstStyle/>
        <a:p>
          <a:endParaRPr lang="pt-PT"/>
        </a:p>
      </dgm:t>
    </dgm:pt>
    <dgm:pt modelId="{B9BDAB96-4B5E-43C8-8EA4-15D085FBDF41}" type="sibTrans" cxnId="{6AD87C2B-2796-458C-BF6B-27FA8915564A}">
      <dgm:prSet/>
      <dgm:spPr/>
      <dgm:t>
        <a:bodyPr/>
        <a:lstStyle/>
        <a:p>
          <a:endParaRPr lang="pt-PT"/>
        </a:p>
      </dgm:t>
    </dgm:pt>
    <dgm:pt modelId="{FE355781-AA18-4BBC-A9D0-BDB9762992D4}">
      <dgm:prSet phldrT="[Text]"/>
      <dgm:spPr/>
      <dgm:t>
        <a:bodyPr/>
        <a:lstStyle/>
        <a:p>
          <a:endParaRPr lang="pt-PT" dirty="0"/>
        </a:p>
      </dgm:t>
    </dgm:pt>
    <dgm:pt modelId="{BAC35658-B4BE-4E97-9843-61D92AB64A7B}" type="parTrans" cxnId="{5861A851-7D4F-4CE4-946C-4E45F21296CF}">
      <dgm:prSet/>
      <dgm:spPr/>
      <dgm:t>
        <a:bodyPr/>
        <a:lstStyle/>
        <a:p>
          <a:endParaRPr lang="pt-PT"/>
        </a:p>
      </dgm:t>
    </dgm:pt>
    <dgm:pt modelId="{B07605D6-F049-48BD-A060-73C3B27AC7FE}" type="sibTrans" cxnId="{5861A851-7D4F-4CE4-946C-4E45F21296CF}">
      <dgm:prSet/>
      <dgm:spPr/>
      <dgm:t>
        <a:bodyPr/>
        <a:lstStyle/>
        <a:p>
          <a:endParaRPr lang="pt-PT"/>
        </a:p>
      </dgm:t>
    </dgm:pt>
    <dgm:pt modelId="{F46C4F3B-1D99-47F1-BD6E-C0E7133A1835}">
      <dgm:prSet phldrT="[Text]"/>
      <dgm:spPr/>
      <dgm:t>
        <a:bodyPr/>
        <a:lstStyle/>
        <a:p>
          <a:r>
            <a:rPr lang="pt-PT" dirty="0"/>
            <a:t>Improve</a:t>
          </a:r>
        </a:p>
      </dgm:t>
    </dgm:pt>
    <dgm:pt modelId="{CCB92582-46BC-4C3F-922A-625568BB9167}" type="parTrans" cxnId="{2BC528DF-B044-408F-8455-6EDCBBF4ABA0}">
      <dgm:prSet/>
      <dgm:spPr/>
      <dgm:t>
        <a:bodyPr/>
        <a:lstStyle/>
        <a:p>
          <a:endParaRPr lang="pt-PT"/>
        </a:p>
      </dgm:t>
    </dgm:pt>
    <dgm:pt modelId="{86067616-46AA-43A6-8BDB-C9C8D2102757}" type="sibTrans" cxnId="{2BC528DF-B044-408F-8455-6EDCBBF4ABA0}">
      <dgm:prSet/>
      <dgm:spPr/>
      <dgm:t>
        <a:bodyPr/>
        <a:lstStyle/>
        <a:p>
          <a:endParaRPr lang="pt-PT"/>
        </a:p>
      </dgm:t>
    </dgm:pt>
    <dgm:pt modelId="{75FC17EF-620E-4334-A90E-8B0AF51B9DFE}">
      <dgm:prSet phldrT="[Text]"/>
      <dgm:spPr/>
      <dgm:t>
        <a:bodyPr/>
        <a:lstStyle/>
        <a:p>
          <a:endParaRPr lang="pt-PT" dirty="0"/>
        </a:p>
      </dgm:t>
    </dgm:pt>
    <dgm:pt modelId="{96C9B62E-7A27-4A79-97EF-13467C622223}" type="parTrans" cxnId="{359EB216-B7C1-4805-B651-44887E58DC24}">
      <dgm:prSet/>
      <dgm:spPr/>
      <dgm:t>
        <a:bodyPr/>
        <a:lstStyle/>
        <a:p>
          <a:endParaRPr lang="pt-PT"/>
        </a:p>
      </dgm:t>
    </dgm:pt>
    <dgm:pt modelId="{948CF0CC-E009-4273-87B7-98F93BFA8995}" type="sibTrans" cxnId="{359EB216-B7C1-4805-B651-44887E58DC24}">
      <dgm:prSet/>
      <dgm:spPr/>
      <dgm:t>
        <a:bodyPr/>
        <a:lstStyle/>
        <a:p>
          <a:endParaRPr lang="pt-PT"/>
        </a:p>
      </dgm:t>
    </dgm:pt>
    <dgm:pt modelId="{D6A47F8A-ED55-4A90-9258-AC0350D9C07A}" type="pres">
      <dgm:prSet presAssocID="{B7473CA6-25A3-410E-9B5F-727B1801E1D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BA6C22-052C-40EE-BD40-858AAC463AF3}" type="pres">
      <dgm:prSet presAssocID="{EB88300B-FCC1-4781-9094-7F02AF3FE86E}" presName="composite" presStyleCnt="0"/>
      <dgm:spPr/>
    </dgm:pt>
    <dgm:pt modelId="{A9158B6A-ED66-4862-A403-EC9C6CF8845E}" type="pres">
      <dgm:prSet presAssocID="{EB88300B-FCC1-4781-9094-7F02AF3FE86E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FA1A48-CF60-4B3C-A2F1-3A2C2A4CD976}" type="pres">
      <dgm:prSet presAssocID="{EB88300B-FCC1-4781-9094-7F02AF3FE86E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CD478B-35F8-4707-8CBF-260EDB49227A}" type="pres">
      <dgm:prSet presAssocID="{961D1448-7F37-4642-A449-5F2A4F65953C}" presName="sp" presStyleCnt="0"/>
      <dgm:spPr/>
    </dgm:pt>
    <dgm:pt modelId="{BFFE55E4-0530-4919-B73A-4FAEAF5AC59E}" type="pres">
      <dgm:prSet presAssocID="{1E4935E2-C8E3-4188-9E9E-876C879AA69F}" presName="composite" presStyleCnt="0"/>
      <dgm:spPr/>
    </dgm:pt>
    <dgm:pt modelId="{22F35C96-FCF7-4BFD-8F8C-DD3412077C54}" type="pres">
      <dgm:prSet presAssocID="{1E4935E2-C8E3-4188-9E9E-876C879AA69F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F30AE2-1527-4984-AB9C-9C58A436AFA9}" type="pres">
      <dgm:prSet presAssocID="{1E4935E2-C8E3-4188-9E9E-876C879AA69F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2629B8-D425-4561-9E14-1E031C325BE4}" type="pres">
      <dgm:prSet presAssocID="{B9BDAB96-4B5E-43C8-8EA4-15D085FBDF41}" presName="sp" presStyleCnt="0"/>
      <dgm:spPr/>
    </dgm:pt>
    <dgm:pt modelId="{05998E32-ECFB-4F67-A177-1484CC91657B}" type="pres">
      <dgm:prSet presAssocID="{F46C4F3B-1D99-47F1-BD6E-C0E7133A1835}" presName="composite" presStyleCnt="0"/>
      <dgm:spPr/>
    </dgm:pt>
    <dgm:pt modelId="{480CD86F-AFFA-4602-B639-70DF7149AC39}" type="pres">
      <dgm:prSet presAssocID="{F46C4F3B-1D99-47F1-BD6E-C0E7133A1835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A2DD35-10E1-4880-ADD4-5713EA512191}" type="pres">
      <dgm:prSet presAssocID="{F46C4F3B-1D99-47F1-BD6E-C0E7133A1835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91ACF73-DFC5-4B9D-A7CF-99B47E02C758}" type="presOf" srcId="{FE355781-AA18-4BBC-A9D0-BDB9762992D4}" destId="{DCF30AE2-1527-4984-AB9C-9C58A436AFA9}" srcOrd="0" destOrd="0" presId="urn:microsoft.com/office/officeart/2005/8/layout/chevron2"/>
    <dgm:cxn modelId="{359EB216-B7C1-4805-B651-44887E58DC24}" srcId="{F46C4F3B-1D99-47F1-BD6E-C0E7133A1835}" destId="{75FC17EF-620E-4334-A90E-8B0AF51B9DFE}" srcOrd="0" destOrd="0" parTransId="{96C9B62E-7A27-4A79-97EF-13467C622223}" sibTransId="{948CF0CC-E009-4273-87B7-98F93BFA8995}"/>
    <dgm:cxn modelId="{0F3D74C7-1C63-425F-8421-DB39E6230A72}" type="presOf" srcId="{B7473CA6-25A3-410E-9B5F-727B1801E1D6}" destId="{D6A47F8A-ED55-4A90-9258-AC0350D9C07A}" srcOrd="0" destOrd="0" presId="urn:microsoft.com/office/officeart/2005/8/layout/chevron2"/>
    <dgm:cxn modelId="{816AC413-04AA-4C13-B3B2-B07D67D4B754}" srcId="{EB88300B-FCC1-4781-9094-7F02AF3FE86E}" destId="{FE561863-5E1C-4934-9653-6D6B30503D9B}" srcOrd="0" destOrd="0" parTransId="{01E42B77-5298-44A2-BB69-C185A06A5D65}" sibTransId="{DFAE94E0-B74C-4BC8-B2A2-0D850742D180}"/>
    <dgm:cxn modelId="{833834FC-FDFE-475A-AA7F-3E5BBB0E0ADE}" type="presOf" srcId="{F46C4F3B-1D99-47F1-BD6E-C0E7133A1835}" destId="{480CD86F-AFFA-4602-B639-70DF7149AC39}" srcOrd="0" destOrd="0" presId="urn:microsoft.com/office/officeart/2005/8/layout/chevron2"/>
    <dgm:cxn modelId="{D3049335-7372-44F5-85B3-54AAAA2A4565}" type="presOf" srcId="{FE561863-5E1C-4934-9653-6D6B30503D9B}" destId="{43FA1A48-CF60-4B3C-A2F1-3A2C2A4CD976}" srcOrd="0" destOrd="0" presId="urn:microsoft.com/office/officeart/2005/8/layout/chevron2"/>
    <dgm:cxn modelId="{BD434D84-1AC3-491F-B168-0155B6DA1AC5}" type="presOf" srcId="{1E4935E2-C8E3-4188-9E9E-876C879AA69F}" destId="{22F35C96-FCF7-4BFD-8F8C-DD3412077C54}" srcOrd="0" destOrd="0" presId="urn:microsoft.com/office/officeart/2005/8/layout/chevron2"/>
    <dgm:cxn modelId="{6AD87C2B-2796-458C-BF6B-27FA8915564A}" srcId="{B7473CA6-25A3-410E-9B5F-727B1801E1D6}" destId="{1E4935E2-C8E3-4188-9E9E-876C879AA69F}" srcOrd="1" destOrd="0" parTransId="{A5E02EDB-D7A5-4DAB-B6D5-E4F1E74013A9}" sibTransId="{B9BDAB96-4B5E-43C8-8EA4-15D085FBDF41}"/>
    <dgm:cxn modelId="{2BC528DF-B044-408F-8455-6EDCBBF4ABA0}" srcId="{B7473CA6-25A3-410E-9B5F-727B1801E1D6}" destId="{F46C4F3B-1D99-47F1-BD6E-C0E7133A1835}" srcOrd="2" destOrd="0" parTransId="{CCB92582-46BC-4C3F-922A-625568BB9167}" sibTransId="{86067616-46AA-43A6-8BDB-C9C8D2102757}"/>
    <dgm:cxn modelId="{DA5E15BF-1D39-43A5-9578-58024F78C7DF}" type="presOf" srcId="{75FC17EF-620E-4334-A90E-8B0AF51B9DFE}" destId="{3BA2DD35-10E1-4880-ADD4-5713EA512191}" srcOrd="0" destOrd="0" presId="urn:microsoft.com/office/officeart/2005/8/layout/chevron2"/>
    <dgm:cxn modelId="{5347B7D7-2F2E-4C58-A46A-8CC97EFCCADC}" type="presOf" srcId="{EB88300B-FCC1-4781-9094-7F02AF3FE86E}" destId="{A9158B6A-ED66-4862-A403-EC9C6CF8845E}" srcOrd="0" destOrd="0" presId="urn:microsoft.com/office/officeart/2005/8/layout/chevron2"/>
    <dgm:cxn modelId="{5861A851-7D4F-4CE4-946C-4E45F21296CF}" srcId="{1E4935E2-C8E3-4188-9E9E-876C879AA69F}" destId="{FE355781-AA18-4BBC-A9D0-BDB9762992D4}" srcOrd="0" destOrd="0" parTransId="{BAC35658-B4BE-4E97-9843-61D92AB64A7B}" sibTransId="{B07605D6-F049-48BD-A060-73C3B27AC7FE}"/>
    <dgm:cxn modelId="{3811A9EF-96FE-4BE6-B32C-F5A2353D75A4}" srcId="{B7473CA6-25A3-410E-9B5F-727B1801E1D6}" destId="{EB88300B-FCC1-4781-9094-7F02AF3FE86E}" srcOrd="0" destOrd="0" parTransId="{617C5609-FA9C-40F7-A753-C9DBC4A59A1D}" sibTransId="{961D1448-7F37-4642-A449-5F2A4F65953C}"/>
    <dgm:cxn modelId="{97D0817B-FC2F-486C-8064-99A591C733CC}" type="presParOf" srcId="{D6A47F8A-ED55-4A90-9258-AC0350D9C07A}" destId="{EDBA6C22-052C-40EE-BD40-858AAC463AF3}" srcOrd="0" destOrd="0" presId="urn:microsoft.com/office/officeart/2005/8/layout/chevron2"/>
    <dgm:cxn modelId="{AB80E376-9470-4B71-AF25-99C1B37DB8CF}" type="presParOf" srcId="{EDBA6C22-052C-40EE-BD40-858AAC463AF3}" destId="{A9158B6A-ED66-4862-A403-EC9C6CF8845E}" srcOrd="0" destOrd="0" presId="urn:microsoft.com/office/officeart/2005/8/layout/chevron2"/>
    <dgm:cxn modelId="{47D30BC9-710C-4C49-B643-0407A744351C}" type="presParOf" srcId="{EDBA6C22-052C-40EE-BD40-858AAC463AF3}" destId="{43FA1A48-CF60-4B3C-A2F1-3A2C2A4CD976}" srcOrd="1" destOrd="0" presId="urn:microsoft.com/office/officeart/2005/8/layout/chevron2"/>
    <dgm:cxn modelId="{0DCC363C-EE0C-4D22-9E64-8082F593A7FC}" type="presParOf" srcId="{D6A47F8A-ED55-4A90-9258-AC0350D9C07A}" destId="{3DCD478B-35F8-4707-8CBF-260EDB49227A}" srcOrd="1" destOrd="0" presId="urn:microsoft.com/office/officeart/2005/8/layout/chevron2"/>
    <dgm:cxn modelId="{FCF1C60C-3514-43C7-8918-F3083C990ECC}" type="presParOf" srcId="{D6A47F8A-ED55-4A90-9258-AC0350D9C07A}" destId="{BFFE55E4-0530-4919-B73A-4FAEAF5AC59E}" srcOrd="2" destOrd="0" presId="urn:microsoft.com/office/officeart/2005/8/layout/chevron2"/>
    <dgm:cxn modelId="{E5BB0352-464F-4ADF-BF57-80DE23A2301A}" type="presParOf" srcId="{BFFE55E4-0530-4919-B73A-4FAEAF5AC59E}" destId="{22F35C96-FCF7-4BFD-8F8C-DD3412077C54}" srcOrd="0" destOrd="0" presId="urn:microsoft.com/office/officeart/2005/8/layout/chevron2"/>
    <dgm:cxn modelId="{9ACE403F-CCB7-48C0-BE18-390A2542FC9F}" type="presParOf" srcId="{BFFE55E4-0530-4919-B73A-4FAEAF5AC59E}" destId="{DCF30AE2-1527-4984-AB9C-9C58A436AFA9}" srcOrd="1" destOrd="0" presId="urn:microsoft.com/office/officeart/2005/8/layout/chevron2"/>
    <dgm:cxn modelId="{88ED30C2-D4E6-4A0B-9349-6A9106F9AC9E}" type="presParOf" srcId="{D6A47F8A-ED55-4A90-9258-AC0350D9C07A}" destId="{622629B8-D425-4561-9E14-1E031C325BE4}" srcOrd="3" destOrd="0" presId="urn:microsoft.com/office/officeart/2005/8/layout/chevron2"/>
    <dgm:cxn modelId="{88775618-CB43-4A09-B7C3-7E973ED793CF}" type="presParOf" srcId="{D6A47F8A-ED55-4A90-9258-AC0350D9C07A}" destId="{05998E32-ECFB-4F67-A177-1484CC91657B}" srcOrd="4" destOrd="0" presId="urn:microsoft.com/office/officeart/2005/8/layout/chevron2"/>
    <dgm:cxn modelId="{E7DF6DF8-1B1C-493F-8625-F4C7478B21C9}" type="presParOf" srcId="{05998E32-ECFB-4F67-A177-1484CC91657B}" destId="{480CD86F-AFFA-4602-B639-70DF7149AC39}" srcOrd="0" destOrd="0" presId="urn:microsoft.com/office/officeart/2005/8/layout/chevron2"/>
    <dgm:cxn modelId="{2B520E1F-A33F-46B7-9268-0C84D06528A1}" type="presParOf" srcId="{05998E32-ECFB-4F67-A177-1484CC91657B}" destId="{3BA2DD35-10E1-4880-ADD4-5713EA5121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158B6A-ED66-4862-A403-EC9C6CF8845E}">
      <dsp:nvSpPr>
        <dsp:cNvPr id="0" name=""/>
        <dsp:cNvSpPr/>
      </dsp:nvSpPr>
      <dsp:spPr>
        <a:xfrm rot="5400000">
          <a:off x="-245276" y="246006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err="1"/>
            <a:t>Good</a:t>
          </a:r>
          <a:endParaRPr lang="pt-PT" sz="2500" kern="1200" dirty="0"/>
        </a:p>
      </dsp:txBody>
      <dsp:txXfrm rot="-5400000">
        <a:off x="1" y="573041"/>
        <a:ext cx="1144621" cy="490553"/>
      </dsp:txXfrm>
    </dsp:sp>
    <dsp:sp modelId="{43FA1A48-CF60-4B3C-A2F1-3A2C2A4CD976}">
      <dsp:nvSpPr>
        <dsp:cNvPr id="0" name=""/>
        <dsp:cNvSpPr/>
      </dsp:nvSpPr>
      <dsp:spPr>
        <a:xfrm rot="5400000">
          <a:off x="5169647" y="-4024294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 err="1"/>
            <a:t>All</a:t>
          </a:r>
          <a:r>
            <a:rPr lang="pt-PT" sz="1400" kern="1200" dirty="0"/>
            <a:t> </a:t>
          </a:r>
          <a:r>
            <a:rPr lang="pt-PT" sz="1400" kern="1200" dirty="0" err="1"/>
            <a:t>tasks</a:t>
          </a:r>
          <a:r>
            <a:rPr lang="pt-PT" sz="1400" kern="1200" dirty="0"/>
            <a:t> </a:t>
          </a:r>
          <a:r>
            <a:rPr lang="pt-PT" sz="1400" kern="1200" dirty="0" err="1"/>
            <a:t>completed</a:t>
          </a:r>
          <a:r>
            <a:rPr lang="pt-PT" sz="1400" kern="1200" dirty="0"/>
            <a:t> </a:t>
          </a:r>
          <a:r>
            <a:rPr lang="pt-PT" sz="1400" kern="1200" dirty="0" err="1"/>
            <a:t>sucessfully</a:t>
          </a:r>
          <a:r>
            <a:rPr lang="pt-PT" sz="1400" kern="1200" dirty="0"/>
            <a:t>.	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 err="1"/>
            <a:t>Promptly</a:t>
          </a:r>
          <a:r>
            <a:rPr lang="pt-PT" sz="1400" kern="1200" dirty="0"/>
            <a:t> </a:t>
          </a:r>
          <a:r>
            <a:rPr lang="pt-PT" sz="1400" kern="1200" dirty="0" err="1"/>
            <a:t>support</a:t>
          </a:r>
          <a:r>
            <a:rPr lang="pt-PT" sz="1400" kern="1200" dirty="0"/>
            <a:t> </a:t>
          </a:r>
          <a:r>
            <a:rPr lang="pt-PT" sz="1400" kern="1200" dirty="0" err="1"/>
            <a:t>from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team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 err="1"/>
            <a:t>Good</a:t>
          </a:r>
          <a:r>
            <a:rPr lang="pt-PT" sz="1400" kern="1200" dirty="0"/>
            <a:t> </a:t>
          </a:r>
          <a:r>
            <a:rPr lang="pt-PT" sz="1400" kern="1200" dirty="0" err="1"/>
            <a:t>learning</a:t>
          </a:r>
          <a:r>
            <a:rPr lang="pt-PT" sz="1400" kern="1200" dirty="0"/>
            <a:t> </a:t>
          </a:r>
          <a:r>
            <a:rPr lang="pt-PT" sz="1400" kern="1200" dirty="0" err="1"/>
            <a:t>experience</a:t>
          </a:r>
          <a:r>
            <a:rPr lang="pt-PT" sz="1400" kern="1200" dirty="0"/>
            <a:t>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 err="1"/>
            <a:t>Other</a:t>
          </a:r>
          <a:r>
            <a:rPr lang="pt-PT" sz="1400" kern="1200" dirty="0"/>
            <a:t> </a:t>
          </a:r>
          <a:r>
            <a:rPr lang="pt-PT" sz="1400" kern="1200" dirty="0" err="1"/>
            <a:t>project</a:t>
          </a:r>
          <a:r>
            <a:rPr lang="pt-PT" sz="1400" kern="1200" dirty="0"/>
            <a:t> </a:t>
          </a:r>
          <a:r>
            <a:rPr lang="pt-PT" sz="1400" kern="1200" dirty="0" err="1"/>
            <a:t>references</a:t>
          </a:r>
          <a:r>
            <a:rPr lang="pt-PT" sz="1400" kern="1200" dirty="0"/>
            <a:t> to </a:t>
          </a:r>
          <a:r>
            <a:rPr lang="pt-PT" sz="1400" kern="1200" dirty="0" err="1"/>
            <a:t>learn</a:t>
          </a:r>
          <a:r>
            <a:rPr lang="pt-PT" sz="1400" kern="1200" dirty="0"/>
            <a:t> </a:t>
          </a:r>
          <a:r>
            <a:rPr lang="pt-PT" sz="1400" kern="1200" dirty="0" err="1"/>
            <a:t>from</a:t>
          </a:r>
          <a:r>
            <a:rPr lang="pt-PT" sz="1400" kern="1200" dirty="0"/>
            <a:t> </a:t>
          </a:r>
          <a:r>
            <a:rPr lang="pt-PT" sz="1400" kern="1200" dirty="0" err="1"/>
            <a:t>and</a:t>
          </a:r>
          <a:r>
            <a:rPr lang="pt-PT" sz="1400" kern="1200" dirty="0"/>
            <a:t> compare.</a:t>
          </a:r>
        </a:p>
      </dsp:txBody>
      <dsp:txXfrm rot="-5400000">
        <a:off x="1144622" y="52616"/>
        <a:ext cx="9061029" cy="959093"/>
      </dsp:txXfrm>
    </dsp:sp>
    <dsp:sp modelId="{22F35C96-FCF7-4BFD-8F8C-DD3412077C54}">
      <dsp:nvSpPr>
        <dsp:cNvPr id="0" name=""/>
        <dsp:cNvSpPr/>
      </dsp:nvSpPr>
      <dsp:spPr>
        <a:xfrm rot="5400000">
          <a:off x="-245276" y="1687363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err="1"/>
            <a:t>Bad</a:t>
          </a:r>
          <a:endParaRPr lang="pt-PT" sz="2500" kern="1200" dirty="0"/>
        </a:p>
      </dsp:txBody>
      <dsp:txXfrm rot="-5400000">
        <a:off x="1" y="2014398"/>
        <a:ext cx="1144621" cy="490553"/>
      </dsp:txXfrm>
    </dsp:sp>
    <dsp:sp modelId="{DCF30AE2-1527-4984-AB9C-9C58A436AFA9}">
      <dsp:nvSpPr>
        <dsp:cNvPr id="0" name=""/>
        <dsp:cNvSpPr/>
      </dsp:nvSpPr>
      <dsp:spPr>
        <a:xfrm rot="5400000">
          <a:off x="5169647" y="-2582938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/>
            <a:t>Time management </a:t>
          </a:r>
          <a:r>
            <a:rPr lang="pt-PT" sz="1400" kern="1200" dirty="0" err="1"/>
            <a:t>when</a:t>
          </a:r>
          <a:r>
            <a:rPr lang="pt-PT" sz="1400" kern="1200" dirty="0"/>
            <a:t> </a:t>
          </a:r>
          <a:r>
            <a:rPr lang="pt-PT" sz="1400" kern="1200" dirty="0" err="1"/>
            <a:t>learning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</a:t>
          </a:r>
          <a:r>
            <a:rPr lang="pt-PT" sz="1400" kern="1200" dirty="0" err="1"/>
            <a:t>tool’s</a:t>
          </a:r>
          <a:r>
            <a:rPr lang="pt-PT" sz="1400" kern="1200" dirty="0"/>
            <a:t> </a:t>
          </a:r>
          <a:r>
            <a:rPr lang="pt-PT" sz="1400" kern="1200" dirty="0" err="1"/>
            <a:t>features</a:t>
          </a:r>
          <a:r>
            <a:rPr lang="pt-PT" sz="1400" kern="1200" dirty="0"/>
            <a:t>.</a:t>
          </a:r>
        </a:p>
      </dsp:txBody>
      <dsp:txXfrm rot="-5400000">
        <a:off x="1144622" y="1493972"/>
        <a:ext cx="9061029" cy="959093"/>
      </dsp:txXfrm>
    </dsp:sp>
    <dsp:sp modelId="{480CD86F-AFFA-4602-B639-70DF7149AC39}">
      <dsp:nvSpPr>
        <dsp:cNvPr id="0" name=""/>
        <dsp:cNvSpPr/>
      </dsp:nvSpPr>
      <dsp:spPr>
        <a:xfrm rot="5400000">
          <a:off x="-245276" y="3128719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/>
            <a:t>Improve</a:t>
          </a:r>
        </a:p>
      </dsp:txBody>
      <dsp:txXfrm rot="-5400000">
        <a:off x="1" y="3455754"/>
        <a:ext cx="1144621" cy="490553"/>
      </dsp:txXfrm>
    </dsp:sp>
    <dsp:sp modelId="{3BA2DD35-10E1-4880-ADD4-5713EA512191}">
      <dsp:nvSpPr>
        <dsp:cNvPr id="0" name=""/>
        <dsp:cNvSpPr/>
      </dsp:nvSpPr>
      <dsp:spPr>
        <a:xfrm rot="5400000">
          <a:off x="5169647" y="-1141582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400" kern="1200" dirty="0" err="1"/>
            <a:t>Proficiency</a:t>
          </a:r>
          <a:r>
            <a:rPr lang="pt-PT" sz="1400" kern="1200" dirty="0"/>
            <a:t> </a:t>
          </a:r>
          <a:r>
            <a:rPr lang="pt-PT" sz="1400" kern="1200" dirty="0" err="1"/>
            <a:t>with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</a:t>
          </a:r>
          <a:r>
            <a:rPr lang="pt-PT" sz="1400" kern="1200" dirty="0" err="1"/>
            <a:t>automation</a:t>
          </a:r>
          <a:r>
            <a:rPr lang="pt-PT" sz="1400" kern="1200" dirty="0"/>
            <a:t> </a:t>
          </a:r>
          <a:r>
            <a:rPr lang="pt-PT" sz="1400" kern="1200" dirty="0" err="1"/>
            <a:t>tool</a:t>
          </a:r>
          <a:r>
            <a:rPr lang="pt-PT" sz="1400" kern="1200" dirty="0"/>
            <a:t>.</a:t>
          </a:r>
        </a:p>
      </dsp:txBody>
      <dsp:txXfrm rot="-5400000">
        <a:off x="1144622" y="2935328"/>
        <a:ext cx="9061029" cy="9590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158B6A-ED66-4862-A403-EC9C6CF8845E}">
      <dsp:nvSpPr>
        <dsp:cNvPr id="0" name=""/>
        <dsp:cNvSpPr/>
      </dsp:nvSpPr>
      <dsp:spPr>
        <a:xfrm rot="5400000">
          <a:off x="-245276" y="246006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err="1"/>
            <a:t>Good</a:t>
          </a:r>
          <a:endParaRPr lang="pt-PT" sz="2500" kern="1200" dirty="0"/>
        </a:p>
      </dsp:txBody>
      <dsp:txXfrm rot="-5400000">
        <a:off x="1" y="573041"/>
        <a:ext cx="1144621" cy="490553"/>
      </dsp:txXfrm>
    </dsp:sp>
    <dsp:sp modelId="{43FA1A48-CF60-4B3C-A2F1-3A2C2A4CD976}">
      <dsp:nvSpPr>
        <dsp:cNvPr id="0" name=""/>
        <dsp:cNvSpPr/>
      </dsp:nvSpPr>
      <dsp:spPr>
        <a:xfrm rot="5400000">
          <a:off x="5169647" y="-4024294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8056" tIns="40005" rIns="40005" bIns="40005" numCol="1" spcCol="1270" anchor="ctr" anchorCtr="0">
          <a:noAutofit/>
        </a:bodyPr>
        <a:lstStyle/>
        <a:p>
          <a:pPr marL="285750" lvl="1" indent="-285750" algn="l" defTabSz="2800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6300" kern="1200" dirty="0"/>
        </a:p>
      </dsp:txBody>
      <dsp:txXfrm rot="-5400000">
        <a:off x="1144622" y="52616"/>
        <a:ext cx="9061029" cy="959093"/>
      </dsp:txXfrm>
    </dsp:sp>
    <dsp:sp modelId="{22F35C96-FCF7-4BFD-8F8C-DD3412077C54}">
      <dsp:nvSpPr>
        <dsp:cNvPr id="0" name=""/>
        <dsp:cNvSpPr/>
      </dsp:nvSpPr>
      <dsp:spPr>
        <a:xfrm rot="5400000">
          <a:off x="-245276" y="1687363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err="1"/>
            <a:t>Bad</a:t>
          </a:r>
          <a:endParaRPr lang="pt-PT" sz="2500" kern="1200" dirty="0"/>
        </a:p>
      </dsp:txBody>
      <dsp:txXfrm rot="-5400000">
        <a:off x="1" y="2014398"/>
        <a:ext cx="1144621" cy="490553"/>
      </dsp:txXfrm>
    </dsp:sp>
    <dsp:sp modelId="{DCF30AE2-1527-4984-AB9C-9C58A436AFA9}">
      <dsp:nvSpPr>
        <dsp:cNvPr id="0" name=""/>
        <dsp:cNvSpPr/>
      </dsp:nvSpPr>
      <dsp:spPr>
        <a:xfrm rot="5400000">
          <a:off x="5169647" y="-2582938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8056" tIns="40005" rIns="40005" bIns="40005" numCol="1" spcCol="1270" anchor="ctr" anchorCtr="0">
          <a:noAutofit/>
        </a:bodyPr>
        <a:lstStyle/>
        <a:p>
          <a:pPr marL="285750" lvl="1" indent="-285750" algn="l" defTabSz="2800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6300" kern="1200" dirty="0"/>
        </a:p>
      </dsp:txBody>
      <dsp:txXfrm rot="-5400000">
        <a:off x="1144622" y="1493972"/>
        <a:ext cx="9061029" cy="959093"/>
      </dsp:txXfrm>
    </dsp:sp>
    <dsp:sp modelId="{480CD86F-AFFA-4602-B639-70DF7149AC39}">
      <dsp:nvSpPr>
        <dsp:cNvPr id="0" name=""/>
        <dsp:cNvSpPr/>
      </dsp:nvSpPr>
      <dsp:spPr>
        <a:xfrm rot="5400000">
          <a:off x="-245276" y="3128719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/>
            <a:t>Improve</a:t>
          </a:r>
        </a:p>
      </dsp:txBody>
      <dsp:txXfrm rot="-5400000">
        <a:off x="1" y="3455754"/>
        <a:ext cx="1144621" cy="490553"/>
      </dsp:txXfrm>
    </dsp:sp>
    <dsp:sp modelId="{3BA2DD35-10E1-4880-ADD4-5713EA512191}">
      <dsp:nvSpPr>
        <dsp:cNvPr id="0" name=""/>
        <dsp:cNvSpPr/>
      </dsp:nvSpPr>
      <dsp:spPr>
        <a:xfrm rot="5400000">
          <a:off x="5169647" y="-1141582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8056" tIns="40005" rIns="40005" bIns="40005" numCol="1" spcCol="1270" anchor="ctr" anchorCtr="0">
          <a:noAutofit/>
        </a:bodyPr>
        <a:lstStyle/>
        <a:p>
          <a:pPr marL="285750" lvl="1" indent="-285750" algn="l" defTabSz="2800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6300" kern="1200" dirty="0"/>
        </a:p>
      </dsp:txBody>
      <dsp:txXfrm rot="-5400000">
        <a:off x="1144622" y="2935328"/>
        <a:ext cx="9061029" cy="9590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D5D03-2A51-4483-80D8-20B4FC811CA6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7232D5-03D8-4B5E-9C0C-FBED2459A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52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0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201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986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44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14168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840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23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068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320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482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224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231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354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E1C9C-4818-4842-B4F4-7F564951AD6A}" type="datetimeFigureOut">
              <a:rPr lang="en-US" smtClean="0"/>
              <a:t>5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0523" y="4200036"/>
            <a:ext cx="5933670" cy="2058654"/>
          </a:xfrm>
        </p:spPr>
        <p:txBody>
          <a:bodyPr/>
          <a:lstStyle/>
          <a:p>
            <a:pPr algn="ctr"/>
            <a:r>
              <a:rPr lang="en-US" dirty="0"/>
              <a:t>Analysis &amp; Design</a:t>
            </a:r>
            <a:br>
              <a:rPr lang="en-US" dirty="0"/>
            </a:br>
            <a:r>
              <a:rPr lang="en-US" dirty="0"/>
              <a:t>Implementation &amp; Automation</a:t>
            </a:r>
            <a:br>
              <a:rPr lang="en-US" dirty="0"/>
            </a:br>
            <a:r>
              <a:rPr lang="en-US" dirty="0"/>
              <a:t>Reporting</a:t>
            </a:r>
          </a:p>
          <a:p>
            <a:pPr algn="ctr"/>
            <a:r>
              <a:rPr lang="en-US" sz="1800" b="0" dirty="0"/>
              <a:t>Software QA Exerc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. Sprint 2 Retrospectiv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2506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Sprint 2 Retrospective</a:t>
            </a:r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0888829-381A-4D50-BD5A-425701446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8448404"/>
              </p:ext>
            </p:extLst>
          </p:nvPr>
        </p:nvGraphicFramePr>
        <p:xfrm>
          <a:off x="824992" y="1947672"/>
          <a:ext cx="10257536" cy="4519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31154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7EB4E66-D061-46EC-B23C-ABA2FB2F579D}"/>
              </a:ext>
            </a:extLst>
          </p:cNvPr>
          <p:cNvGrpSpPr/>
          <p:nvPr/>
        </p:nvGrpSpPr>
        <p:grpSpPr>
          <a:xfrm>
            <a:off x="2625254" y="2636109"/>
            <a:ext cx="744434" cy="2372758"/>
            <a:chOff x="395536" y="1757007"/>
            <a:chExt cx="771054" cy="196687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50822F0-E5A4-4886-8131-6065D939638C}"/>
                </a:ext>
              </a:extLst>
            </p:cNvPr>
            <p:cNvGrpSpPr/>
            <p:nvPr/>
          </p:nvGrpSpPr>
          <p:grpSpPr>
            <a:xfrm>
              <a:off x="395536" y="1757007"/>
              <a:ext cx="771054" cy="592536"/>
              <a:chOff x="1595537" y="817022"/>
              <a:chExt cx="879574" cy="549733"/>
            </a:xfrm>
            <a:scene3d>
              <a:camera prst="orthographicFront"/>
              <a:lightRig rig="threePt" dir="t"/>
            </a:scene3d>
          </p:grpSpPr>
          <p:sp>
            <p:nvSpPr>
              <p:cNvPr id="17" name="Rounded Rectangle 97">
                <a:extLst>
                  <a:ext uri="{FF2B5EF4-FFF2-40B4-BE49-F238E27FC236}">
                    <a16:creationId xmlns:a16="http://schemas.microsoft.com/office/drawing/2014/main" id="{C25BB246-24D9-48A4-B179-59BB539D9AC6}"/>
                  </a:ext>
                </a:extLst>
              </p:cNvPr>
              <p:cNvSpPr/>
              <p:nvPr/>
            </p:nvSpPr>
            <p:spPr>
              <a:xfrm>
                <a:off x="1595537" y="817022"/>
                <a:ext cx="879574" cy="549733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3"/>
                </a:solidFill>
              </a:ln>
              <a:sp3d>
                <a:bevelT/>
                <a:bevelB/>
              </a:sp3d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8" name="Rounded Rectangle 4">
                <a:extLst>
                  <a:ext uri="{FF2B5EF4-FFF2-40B4-BE49-F238E27FC236}">
                    <a16:creationId xmlns:a16="http://schemas.microsoft.com/office/drawing/2014/main" id="{107D89AF-209B-46E1-826D-7410FB35EBF6}"/>
                  </a:ext>
                </a:extLst>
              </p:cNvPr>
              <p:cNvSpPr txBox="1"/>
              <p:nvPr/>
            </p:nvSpPr>
            <p:spPr>
              <a:xfrm>
                <a:off x="1611638" y="833123"/>
                <a:ext cx="847372" cy="517531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5240" tIns="10160" rIns="15240" bIns="10160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sis and design of critical use cases</a:t>
                </a:r>
              </a:p>
            </p:txBody>
          </p:sp>
        </p:grpSp>
        <p:sp>
          <p:nvSpPr>
            <p:cNvPr id="15" name="Rounded Rectangle 95">
              <a:extLst>
                <a:ext uri="{FF2B5EF4-FFF2-40B4-BE49-F238E27FC236}">
                  <a16:creationId xmlns:a16="http://schemas.microsoft.com/office/drawing/2014/main" id="{CF7F3662-B5D8-4AC3-81FB-8661618D540B}"/>
                </a:ext>
              </a:extLst>
            </p:cNvPr>
            <p:cNvSpPr/>
            <p:nvPr/>
          </p:nvSpPr>
          <p:spPr>
            <a:xfrm>
              <a:off x="395536" y="2414493"/>
              <a:ext cx="771054" cy="63417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3"/>
              </a:solidFill>
            </a:ln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r>
                <a:rPr lang="pt-PT" sz="800" dirty="0" err="1"/>
                <a:t>Start</a:t>
              </a:r>
              <a:r>
                <a:rPr lang="pt-PT" sz="800" dirty="0"/>
                <a:t> </a:t>
              </a:r>
              <a:r>
                <a:rPr lang="pt-PT" sz="800" dirty="0" err="1"/>
                <a:t>automation</a:t>
              </a:r>
              <a:r>
                <a:rPr lang="pt-PT" sz="800" dirty="0"/>
                <a:t> </a:t>
              </a:r>
              <a:r>
                <a:rPr lang="pt-PT" sz="800" dirty="0" err="1"/>
                <a:t>project</a:t>
              </a:r>
              <a:endParaRPr lang="pt-PT" sz="800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3B2FCE4-704C-42D5-987C-6FE60649F828}"/>
                </a:ext>
              </a:extLst>
            </p:cNvPr>
            <p:cNvGrpSpPr/>
            <p:nvPr/>
          </p:nvGrpSpPr>
          <p:grpSpPr>
            <a:xfrm>
              <a:off x="395536" y="3131342"/>
              <a:ext cx="771054" cy="592536"/>
              <a:chOff x="1595537" y="2191357"/>
              <a:chExt cx="879574" cy="549733"/>
            </a:xfrm>
            <a:scene3d>
              <a:camera prst="orthographicFront"/>
              <a:lightRig rig="threePt" dir="t"/>
            </a:scene3d>
          </p:grpSpPr>
          <p:sp>
            <p:nvSpPr>
              <p:cNvPr id="13" name="Rounded Rectangle 93">
                <a:extLst>
                  <a:ext uri="{FF2B5EF4-FFF2-40B4-BE49-F238E27FC236}">
                    <a16:creationId xmlns:a16="http://schemas.microsoft.com/office/drawing/2014/main" id="{A5BF9B46-783C-4BB5-A6C3-442AC54900F5}"/>
                  </a:ext>
                </a:extLst>
              </p:cNvPr>
              <p:cNvSpPr/>
              <p:nvPr/>
            </p:nvSpPr>
            <p:spPr>
              <a:xfrm>
                <a:off x="1595537" y="2191357"/>
                <a:ext cx="879574" cy="549733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3"/>
                </a:solidFill>
              </a:ln>
              <a:sp3d>
                <a:bevelT/>
                <a:bevelB/>
              </a:sp3d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Rounded Rectangle 8">
                <a:extLst>
                  <a:ext uri="{FF2B5EF4-FFF2-40B4-BE49-F238E27FC236}">
                    <a16:creationId xmlns:a16="http://schemas.microsoft.com/office/drawing/2014/main" id="{D9953938-77C0-4AF4-88FF-AADBFCE280B6}"/>
                  </a:ext>
                </a:extLst>
              </p:cNvPr>
              <p:cNvSpPr txBox="1"/>
              <p:nvPr/>
            </p:nvSpPr>
            <p:spPr>
              <a:xfrm>
                <a:off x="1611638" y="2207458"/>
                <a:ext cx="847372" cy="517531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5240" tIns="10160" rIns="15240" bIns="10160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e backlog </a:t>
                </a: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21B2E2-A6BB-4AD1-9B38-3CF4D100F997}"/>
              </a:ext>
            </a:extLst>
          </p:cNvPr>
          <p:cNvGrpSpPr/>
          <p:nvPr/>
        </p:nvGrpSpPr>
        <p:grpSpPr>
          <a:xfrm>
            <a:off x="3532477" y="2629116"/>
            <a:ext cx="747919" cy="721805"/>
            <a:chOff x="2969871" y="817022"/>
            <a:chExt cx="879574" cy="549733"/>
          </a:xfrm>
          <a:scene3d>
            <a:camera prst="orthographicFront"/>
            <a:lightRig rig="threePt" dir="t"/>
          </a:scene3d>
        </p:grpSpPr>
        <p:sp>
          <p:nvSpPr>
            <p:cNvPr id="20" name="Rounded Rectangle 91">
              <a:extLst>
                <a:ext uri="{FF2B5EF4-FFF2-40B4-BE49-F238E27FC236}">
                  <a16:creationId xmlns:a16="http://schemas.microsoft.com/office/drawing/2014/main" id="{008EA349-8923-4DEE-B0AB-3C332AD94F9F}"/>
                </a:ext>
              </a:extLst>
            </p:cNvPr>
            <p:cNvSpPr/>
            <p:nvPr/>
          </p:nvSpPr>
          <p:spPr>
            <a:xfrm>
              <a:off x="2969871" y="817022"/>
              <a:ext cx="879574" cy="549733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4"/>
              </a:solidFill>
            </a:ln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Rounded Rectangle 10">
              <a:extLst>
                <a:ext uri="{FF2B5EF4-FFF2-40B4-BE49-F238E27FC236}">
                  <a16:creationId xmlns:a16="http://schemas.microsoft.com/office/drawing/2014/main" id="{49D3C5F0-4F20-4F93-BF51-E3CCAAA26AB9}"/>
                </a:ext>
              </a:extLst>
            </p:cNvPr>
            <p:cNvSpPr txBox="1"/>
            <p:nvPr/>
          </p:nvSpPr>
          <p:spPr>
            <a:xfrm>
              <a:off x="2985972" y="833123"/>
              <a:ext cx="847372" cy="51753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0160" rIns="1524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ish the test automation’s use cas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5B0273C-AFF5-4545-8BAF-D6B9A02E0A42}"/>
              </a:ext>
            </a:extLst>
          </p:cNvPr>
          <p:cNvGrpSpPr/>
          <p:nvPr/>
        </p:nvGrpSpPr>
        <p:grpSpPr>
          <a:xfrm>
            <a:off x="4486527" y="2639965"/>
            <a:ext cx="700782" cy="669025"/>
            <a:chOff x="4344206" y="817022"/>
            <a:chExt cx="879574" cy="549733"/>
          </a:xfrm>
          <a:scene3d>
            <a:camera prst="orthographicFront"/>
            <a:lightRig rig="threePt" dir="t"/>
          </a:scene3d>
        </p:grpSpPr>
        <p:sp>
          <p:nvSpPr>
            <p:cNvPr id="23" name="Rounded Rectangle 87">
              <a:extLst>
                <a:ext uri="{FF2B5EF4-FFF2-40B4-BE49-F238E27FC236}">
                  <a16:creationId xmlns:a16="http://schemas.microsoft.com/office/drawing/2014/main" id="{25D373B9-0E1E-4181-8352-69D993F9199B}"/>
                </a:ext>
              </a:extLst>
            </p:cNvPr>
            <p:cNvSpPr/>
            <p:nvPr/>
          </p:nvSpPr>
          <p:spPr>
            <a:xfrm>
              <a:off x="4344206" y="817022"/>
              <a:ext cx="879574" cy="549733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4"/>
              </a:solidFill>
            </a:ln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ounded Rectangle 14">
              <a:extLst>
                <a:ext uri="{FF2B5EF4-FFF2-40B4-BE49-F238E27FC236}">
                  <a16:creationId xmlns:a16="http://schemas.microsoft.com/office/drawing/2014/main" id="{ED516FC2-A183-4CB5-B34A-6007C4693A56}"/>
                </a:ext>
              </a:extLst>
            </p:cNvPr>
            <p:cNvSpPr txBox="1"/>
            <p:nvPr/>
          </p:nvSpPr>
          <p:spPr>
            <a:xfrm>
              <a:off x="4360307" y="833123"/>
              <a:ext cx="847372" cy="51753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0160" rIns="1524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factor</a:t>
              </a:r>
            </a:p>
          </p:txBody>
        </p:sp>
      </p:grpSp>
      <p:sp>
        <p:nvSpPr>
          <p:cNvPr id="35" name="Pentagon 20">
            <a:extLst>
              <a:ext uri="{FF2B5EF4-FFF2-40B4-BE49-F238E27FC236}">
                <a16:creationId xmlns:a16="http://schemas.microsoft.com/office/drawing/2014/main" id="{C9CA63E0-CFF3-4CB4-B800-41A633C79A44}"/>
              </a:ext>
            </a:extLst>
          </p:cNvPr>
          <p:cNvSpPr/>
          <p:nvPr/>
        </p:nvSpPr>
        <p:spPr>
          <a:xfrm>
            <a:off x="2512304" y="2009016"/>
            <a:ext cx="3102112" cy="140219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Pentagon 21">
            <a:extLst>
              <a:ext uri="{FF2B5EF4-FFF2-40B4-BE49-F238E27FC236}">
                <a16:creationId xmlns:a16="http://schemas.microsoft.com/office/drawing/2014/main" id="{B0A68076-444A-4BBB-99AC-3016F058326A}"/>
              </a:ext>
            </a:extLst>
          </p:cNvPr>
          <p:cNvSpPr/>
          <p:nvPr/>
        </p:nvSpPr>
        <p:spPr>
          <a:xfrm>
            <a:off x="2611599" y="2346261"/>
            <a:ext cx="707935" cy="243541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1</a:t>
            </a:r>
          </a:p>
        </p:txBody>
      </p:sp>
      <p:sp>
        <p:nvSpPr>
          <p:cNvPr id="37" name="Pentagon 22">
            <a:extLst>
              <a:ext uri="{FF2B5EF4-FFF2-40B4-BE49-F238E27FC236}">
                <a16:creationId xmlns:a16="http://schemas.microsoft.com/office/drawing/2014/main" id="{E1F5CB4D-BB5A-46B5-8876-51AAD3AD1247}"/>
              </a:ext>
            </a:extLst>
          </p:cNvPr>
          <p:cNvSpPr/>
          <p:nvPr/>
        </p:nvSpPr>
        <p:spPr>
          <a:xfrm>
            <a:off x="3553483" y="2337508"/>
            <a:ext cx="662394" cy="24155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2</a:t>
            </a:r>
          </a:p>
        </p:txBody>
      </p:sp>
      <p:sp>
        <p:nvSpPr>
          <p:cNvPr id="38" name="Pentagon 23">
            <a:extLst>
              <a:ext uri="{FF2B5EF4-FFF2-40B4-BE49-F238E27FC236}">
                <a16:creationId xmlns:a16="http://schemas.microsoft.com/office/drawing/2014/main" id="{E32FC749-B1E2-45BD-AD42-AFFA26DF1D43}"/>
              </a:ext>
            </a:extLst>
          </p:cNvPr>
          <p:cNvSpPr/>
          <p:nvPr/>
        </p:nvSpPr>
        <p:spPr>
          <a:xfrm>
            <a:off x="4498328" y="2346261"/>
            <a:ext cx="701681" cy="242613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B09D63-5858-4C7F-8473-7476BCC04D62}"/>
              </a:ext>
            </a:extLst>
          </p:cNvPr>
          <p:cNvSpPr/>
          <p:nvPr/>
        </p:nvSpPr>
        <p:spPr>
          <a:xfrm>
            <a:off x="4354202" y="2135940"/>
            <a:ext cx="109743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31/05– 04/06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0C065CA-676F-4A4C-A473-7DF57128D5F1}"/>
              </a:ext>
            </a:extLst>
          </p:cNvPr>
          <p:cNvSpPr/>
          <p:nvPr/>
        </p:nvSpPr>
        <p:spPr>
          <a:xfrm>
            <a:off x="3405787" y="2121477"/>
            <a:ext cx="10980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17/28 – 28/0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EA5B25F-9342-465C-ABFB-51447C18E7E1}"/>
              </a:ext>
            </a:extLst>
          </p:cNvPr>
          <p:cNvSpPr/>
          <p:nvPr/>
        </p:nvSpPr>
        <p:spPr>
          <a:xfrm>
            <a:off x="3477095" y="1967072"/>
            <a:ext cx="4026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E09E110-4850-4A10-B279-D87CA51A6F06}"/>
              </a:ext>
            </a:extLst>
          </p:cNvPr>
          <p:cNvSpPr/>
          <p:nvPr/>
        </p:nvSpPr>
        <p:spPr>
          <a:xfrm>
            <a:off x="2456921" y="2126742"/>
            <a:ext cx="109458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03/05 – 14/05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0555184-DF37-477D-9044-9B35BF5DCFA1}"/>
              </a:ext>
            </a:extLst>
          </p:cNvPr>
          <p:cNvSpPr/>
          <p:nvPr/>
        </p:nvSpPr>
        <p:spPr>
          <a:xfrm>
            <a:off x="4642165" y="1974468"/>
            <a:ext cx="4347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</a:t>
            </a:r>
          </a:p>
        </p:txBody>
      </p:sp>
      <p:pic>
        <p:nvPicPr>
          <p:cNvPr id="52" name="Picture 51" descr="Archivo:Check green icon.svg - Wikipedia, la enciclopedia ...">
            <a:extLst>
              <a:ext uri="{FF2B5EF4-FFF2-40B4-BE49-F238E27FC236}">
                <a16:creationId xmlns:a16="http://schemas.microsoft.com/office/drawing/2014/main" id="{222CC150-39C8-4919-97A7-BDAE910D3D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167" y="2238113"/>
            <a:ext cx="320044" cy="246041"/>
          </a:xfrm>
          <a:prstGeom prst="rect">
            <a:avLst/>
          </a:prstGeom>
        </p:spPr>
      </p:pic>
      <p:sp>
        <p:nvSpPr>
          <p:cNvPr id="65" name="Rounded Rectangle 95">
            <a:extLst>
              <a:ext uri="{FF2B5EF4-FFF2-40B4-BE49-F238E27FC236}">
                <a16:creationId xmlns:a16="http://schemas.microsoft.com/office/drawing/2014/main" id="{EA3AC34C-BA1A-4B78-8136-9F6A352D1ED3}"/>
              </a:ext>
            </a:extLst>
          </p:cNvPr>
          <p:cNvSpPr/>
          <p:nvPr/>
        </p:nvSpPr>
        <p:spPr>
          <a:xfrm>
            <a:off x="4464701" y="3447557"/>
            <a:ext cx="744434" cy="765038"/>
          </a:xfrm>
          <a:prstGeom prst="roundRect">
            <a:avLst>
              <a:gd name="adj" fmla="val 10000"/>
            </a:avLst>
          </a:prstGeom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pt-PT" sz="800" dirty="0" err="1"/>
              <a:t>Documentation</a:t>
            </a:r>
            <a:r>
              <a:rPr lang="pt-PT" sz="800" dirty="0"/>
              <a:t> </a:t>
            </a:r>
            <a:r>
              <a:rPr lang="pt-PT" sz="800" dirty="0" err="1"/>
              <a:t>and</a:t>
            </a:r>
            <a:r>
              <a:rPr lang="pt-PT" sz="800" dirty="0"/>
              <a:t> </a:t>
            </a:r>
            <a:r>
              <a:rPr lang="pt-PT" sz="800" dirty="0" err="1"/>
              <a:t>handover</a:t>
            </a:r>
            <a:endParaRPr lang="pt-PT" sz="800" dirty="0"/>
          </a:p>
        </p:txBody>
      </p:sp>
    </p:spTree>
    <p:extLst>
      <p:ext uri="{BB962C8B-B14F-4D97-AF65-F5344CB8AC3E}">
        <p14:creationId xmlns:p14="http://schemas.microsoft.com/office/powerpoint/2010/main" val="1229582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. Sprint 1 Review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071371"/>
              </p:ext>
            </p:extLst>
          </p:nvPr>
        </p:nvGraphicFramePr>
        <p:xfrm>
          <a:off x="473529" y="2134180"/>
          <a:ext cx="10812234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0211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5176828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258568">
                  <a:extLst>
                    <a:ext uri="{9D8B030D-6E8A-4147-A177-3AD203B41FA5}">
                      <a16:colId xmlns:a16="http://schemas.microsoft.com/office/drawing/2014/main" val="1733340472"/>
                    </a:ext>
                  </a:extLst>
                </a:gridCol>
                <a:gridCol w="749808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649224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797595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063155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print 1 Review    |    03/05 -&gt; 14/05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C98707C8-F182-4155-ADC0-857F58775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21" y="3877055"/>
            <a:ext cx="11663167" cy="205740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1 Points : 20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Velocity</a:t>
            </a:r>
          </a:p>
        </p:txBody>
      </p:sp>
    </p:spTree>
    <p:extLst>
      <p:ext uri="{BB962C8B-B14F-4D97-AF65-F5344CB8AC3E}">
        <p14:creationId xmlns:p14="http://schemas.microsoft.com/office/powerpoint/2010/main" val="14315193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 Sprint 1 Retrospectiv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6956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print 1 Retrospective</a:t>
            </a:r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0888829-381A-4D50-BD5A-425701446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3993768"/>
              </p:ext>
            </p:extLst>
          </p:nvPr>
        </p:nvGraphicFramePr>
        <p:xfrm>
          <a:off x="824992" y="1947672"/>
          <a:ext cx="10257536" cy="4519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13106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3. Sprint 2 Pla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4718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830159"/>
              </p:ext>
            </p:extLst>
          </p:nvPr>
        </p:nvGraphicFramePr>
        <p:xfrm>
          <a:off x="473529" y="2134180"/>
          <a:ext cx="10947327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hobbies and three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out not mandatory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396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Remove Files method to the automation 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5113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Refa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846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mize date picker value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4611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video recording to the test automation exe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4487079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Backlog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361168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print 2 Plan    |    17/05 -&gt; 28/05</a:t>
            </a: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9E92E38D-8FF4-4B07-8248-DA61CA779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0E23B4D-AA24-40CB-86FE-E05AF000D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531927"/>
              </p:ext>
            </p:extLst>
          </p:nvPr>
        </p:nvGraphicFramePr>
        <p:xfrm>
          <a:off x="473529" y="2134180"/>
          <a:ext cx="10947327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QAEX-TA</a:t>
                      </a:r>
                      <a:r>
                        <a:rPr lang="en-US" sz="1400" baseline="0" dirty="0">
                          <a:solidFill>
                            <a:srgbClr val="00B0F0"/>
                          </a:solidFill>
                        </a:rPr>
                        <a:t>-002</a:t>
                      </a:r>
                      <a:endParaRPr lang="en-US" sz="14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hobbies and three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QAEX-TA</a:t>
                      </a:r>
                      <a:r>
                        <a:rPr lang="en-US" sz="1400" baseline="0" dirty="0">
                          <a:solidFill>
                            <a:srgbClr val="00B0F0"/>
                          </a:solidFill>
                        </a:rPr>
                        <a:t>-003</a:t>
                      </a:r>
                      <a:endParaRPr lang="en-US" sz="14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out not mandatory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en-US" sz="1400" kern="1200" baseline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QAEX-TA</a:t>
                      </a:r>
                      <a:r>
                        <a:rPr lang="en-US" sz="1400" baseline="0" dirty="0">
                          <a:solidFill>
                            <a:srgbClr val="00B0F0"/>
                          </a:solidFill>
                        </a:rPr>
                        <a:t>-005</a:t>
                      </a:r>
                      <a:endParaRPr lang="en-US" sz="14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en-US" sz="1400" kern="1200" baseline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396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Remove Files method to the automation 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5113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QAEX-TA-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Optimize date picker value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en-US" sz="1400" kern="1200" baseline="0" dirty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F0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4611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video recording to the test automation exe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44870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0192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111AEC0F001F439AAA6966AC67EDAD" ma:contentTypeVersion="6" ma:contentTypeDescription="Create a new document." ma:contentTypeScope="" ma:versionID="8398f854210da27859ebd367e4ebbe84">
  <xsd:schema xmlns:xsd="http://www.w3.org/2001/XMLSchema" xmlns:xs="http://www.w3.org/2001/XMLSchema" xmlns:p="http://schemas.microsoft.com/office/2006/metadata/properties" xmlns:ns2="35ad002e-b3e2-49bf-804b-0848fdb7d1ea" targetNamespace="http://schemas.microsoft.com/office/2006/metadata/properties" ma:root="true" ma:fieldsID="73d8ee19da6aa0edd5a3a7632d9b1273" ns2:_="">
    <xsd:import namespace="35ad002e-b3e2-49bf-804b-0848fdb7d1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d002e-b3e2-49bf-804b-0848fdb7d1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831197C-EEF5-4B66-BF08-BF7DBE9EBA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72D5F8-5DBC-49FD-91CE-28F5261B1308}">
  <ds:schemaRefs>
    <ds:schemaRef ds:uri="35ad002e-b3e2-49bf-804b-0848fdb7d1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5F351B3-DB8D-4A44-9111-C637F048ECE6}">
  <ds:schemaRefs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5ad002e-b3e2-49bf-804b-0848fdb7d1e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39</TotalTime>
  <Words>370</Words>
  <Application>Microsoft Office PowerPoint</Application>
  <PresentationFormat>Widescreen</PresentationFormat>
  <Paragraphs>14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Wingdings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ltran P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ETANO David;Diogo Maio</dc:creator>
  <cp:lastModifiedBy>MENEZES SOUZA Gislaine</cp:lastModifiedBy>
  <cp:revision>165</cp:revision>
  <dcterms:created xsi:type="dcterms:W3CDTF">2019-02-22T18:13:38Z</dcterms:created>
  <dcterms:modified xsi:type="dcterms:W3CDTF">2021-05-19T10:1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111AEC0F001F439AAA6966AC67EDAD</vt:lpwstr>
  </property>
</Properties>
</file>